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  <p:sldMasterId id="2147483741" r:id="rId3"/>
  </p:sldMasterIdLst>
  <p:notesMasterIdLst>
    <p:notesMasterId r:id="rId24"/>
  </p:notesMasterIdLst>
  <p:sldIdLst>
    <p:sldId id="371" r:id="rId4"/>
    <p:sldId id="376" r:id="rId5"/>
    <p:sldId id="372" r:id="rId6"/>
    <p:sldId id="373" r:id="rId7"/>
    <p:sldId id="375" r:id="rId8"/>
    <p:sldId id="374" r:id="rId9"/>
    <p:sldId id="378" r:id="rId10"/>
    <p:sldId id="379" r:id="rId11"/>
    <p:sldId id="380" r:id="rId12"/>
    <p:sldId id="381" r:id="rId13"/>
    <p:sldId id="382" r:id="rId14"/>
    <p:sldId id="383" r:id="rId15"/>
    <p:sldId id="384" r:id="rId16"/>
    <p:sldId id="385" r:id="rId17"/>
    <p:sldId id="386" r:id="rId18"/>
    <p:sldId id="387" r:id="rId19"/>
    <p:sldId id="388" r:id="rId20"/>
    <p:sldId id="389" r:id="rId21"/>
    <p:sldId id="390" r:id="rId22"/>
    <p:sldId id="391" r:id="rId23"/>
  </p:sldIdLst>
  <p:sldSz cx="12192000" cy="6858000"/>
  <p:notesSz cx="6797675" cy="9926638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88D4E"/>
    <a:srgbClr val="BD382F"/>
    <a:srgbClr val="F09925"/>
    <a:srgbClr val="B25147"/>
    <a:srgbClr val="445469"/>
    <a:srgbClr val="98B75A"/>
    <a:srgbClr val="32A185"/>
    <a:srgbClr val="154D72"/>
    <a:srgbClr val="E59324"/>
    <a:srgbClr val="86C2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35427" autoAdjust="0"/>
    <p:restoredTop sz="93725" autoAdjust="0"/>
  </p:normalViewPr>
  <p:slideViewPr>
    <p:cSldViewPr>
      <p:cViewPr varScale="1">
        <p:scale>
          <a:sx n="79" d="100"/>
          <a:sy n="79" d="100"/>
        </p:scale>
        <p:origin x="224" y="1248"/>
      </p:cViewPr>
      <p:guideLst>
        <p:guide pos="397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3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2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11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89884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37883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3131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07441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0967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55964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1609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9550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0004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445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66564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716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20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67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9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B812DE3-54D6-4E45-9314-53AB9E036A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4.0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8312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2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2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6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7.svg"/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12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11" Type="http://schemas.openxmlformats.org/officeDocument/2006/relationships/image" Target="../media/image16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8.sv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15.svg"/><Relationship Id="rId1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2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0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972100" y="1562571"/>
            <a:ext cx="1908000" cy="1908000"/>
          </a:xfrm>
          <a:prstGeom prst="rect">
            <a:avLst/>
          </a:prstGeom>
          <a:solidFill>
            <a:srgbClr val="154D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EE388E2-81B7-3D42-9C75-79E3EFDC61F9}"/>
              </a:ext>
            </a:extLst>
          </p:cNvPr>
          <p:cNvSpPr/>
          <p:nvPr/>
        </p:nvSpPr>
        <p:spPr>
          <a:xfrm>
            <a:off x="6276232" y="1562571"/>
            <a:ext cx="1908000" cy="1908000"/>
          </a:xfrm>
          <a:prstGeom prst="rect">
            <a:avLst/>
          </a:prstGeom>
          <a:solidFill>
            <a:srgbClr val="1F7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CD1ED3-0A05-4643-8FA1-AFD067AFF7C5}"/>
              </a:ext>
            </a:extLst>
          </p:cNvPr>
          <p:cNvSpPr/>
          <p:nvPr/>
        </p:nvSpPr>
        <p:spPr>
          <a:xfrm>
            <a:off x="3972100" y="3709556"/>
            <a:ext cx="1908000" cy="190800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46821F2-2896-3744-A458-4A234866EDD1}"/>
              </a:ext>
            </a:extLst>
          </p:cNvPr>
          <p:cNvSpPr/>
          <p:nvPr/>
        </p:nvSpPr>
        <p:spPr>
          <a:xfrm>
            <a:off x="6276232" y="3698485"/>
            <a:ext cx="1908000" cy="1908000"/>
          </a:xfrm>
          <a:prstGeom prst="rect">
            <a:avLst/>
          </a:prstGeom>
          <a:solidFill>
            <a:srgbClr val="86C2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587724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2547108-AFA0-F740-B8D7-272C3733A4A0}"/>
              </a:ext>
            </a:extLst>
          </p:cNvPr>
          <p:cNvSpPr/>
          <p:nvPr/>
        </p:nvSpPr>
        <p:spPr>
          <a:xfrm>
            <a:off x="587724" y="3709556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7A048C63-D1C6-034A-B7E3-22EFBC2A3822}"/>
              </a:ext>
            </a:extLst>
          </p:cNvPr>
          <p:cNvSpPr/>
          <p:nvPr/>
        </p:nvSpPr>
        <p:spPr>
          <a:xfrm>
            <a:off x="8184232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2BFCD231-F46C-314F-9C4A-C56BBF802DEA}"/>
              </a:ext>
            </a:extLst>
          </p:cNvPr>
          <p:cNvSpPr/>
          <p:nvPr/>
        </p:nvSpPr>
        <p:spPr>
          <a:xfrm>
            <a:off x="8184232" y="3709550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1003085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5797686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Technological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7621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686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9EC51E8-C156-9B46-8296-1C7C117779E9}"/>
              </a:ext>
            </a:extLst>
          </p:cNvPr>
          <p:cNvSpPr/>
          <p:nvPr/>
        </p:nvSpPr>
        <p:spPr>
          <a:xfrm>
            <a:off x="6095999" y="2295470"/>
            <a:ext cx="5557115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</a:rPr>
              <a:t>Technolog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4D79A10-4D6D-5145-ADC4-963CC15396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88527" y="5399182"/>
            <a:ext cx="68400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960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8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479500" y="1844824"/>
            <a:ext cx="1908000" cy="1908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495600" y="1851392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479500" y="3878021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495600" y="3878021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5204566" y="1851392"/>
            <a:ext cx="6480596" cy="47127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POLITIC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5204566" y="2322662"/>
            <a:ext cx="6480596" cy="34633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6034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479500" y="1844824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495600" y="1851392"/>
            <a:ext cx="1908000" cy="1908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479500" y="3878021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495600" y="3878021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5204566" y="1851392"/>
            <a:ext cx="6480596" cy="47127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ECONOMIC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5204566" y="2322662"/>
            <a:ext cx="6480596" cy="34633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414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479500" y="1844824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495600" y="1851392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479500" y="3878021"/>
            <a:ext cx="1908000" cy="1908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495600" y="3878021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5204566" y="1851392"/>
            <a:ext cx="6480596" cy="47127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SOCI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5204566" y="2322662"/>
            <a:ext cx="6480596" cy="34633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909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479500" y="1844824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495600" y="1851392"/>
            <a:ext cx="1908000" cy="190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479500" y="3878021"/>
            <a:ext cx="1908000" cy="190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495600" y="3878021"/>
            <a:ext cx="1908000" cy="190800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5204566" y="1851392"/>
            <a:ext cx="6480596" cy="471270"/>
          </a:xfrm>
          <a:prstGeom prst="rect">
            <a:avLst/>
          </a:prstGeom>
          <a:solidFill>
            <a:srgbClr val="B251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TECHNOLOGIC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5204566" y="2322662"/>
            <a:ext cx="6480596" cy="34633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8379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POLITIC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950053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ECONOMIC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3496872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SOCI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15387751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TECHNOLOGIC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11302431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LEG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594977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972100" y="1562571"/>
            <a:ext cx="1908000" cy="1908000"/>
          </a:xfrm>
          <a:prstGeom prst="rect">
            <a:avLst/>
          </a:prstGeom>
          <a:solidFill>
            <a:srgbClr val="154D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prstClr val="white"/>
              </a:solidFill>
              <a:latin typeface="Arial" panose="020B0604020202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prstClr val="white"/>
              </a:solidFill>
              <a:latin typeface="Arial" panose="020B0604020202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EE388E2-81B7-3D42-9C75-79E3EFDC61F9}"/>
              </a:ext>
            </a:extLst>
          </p:cNvPr>
          <p:cNvSpPr/>
          <p:nvPr/>
        </p:nvSpPr>
        <p:spPr>
          <a:xfrm>
            <a:off x="6276232" y="1562571"/>
            <a:ext cx="1908000" cy="1908000"/>
          </a:xfrm>
          <a:prstGeom prst="rect">
            <a:avLst/>
          </a:prstGeom>
          <a:solidFill>
            <a:srgbClr val="1F7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prstClr val="white"/>
              </a:solidFill>
              <a:latin typeface="Arial" panose="020B0604020202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CD1ED3-0A05-4643-8FA1-AFD067AFF7C5}"/>
              </a:ext>
            </a:extLst>
          </p:cNvPr>
          <p:cNvSpPr/>
          <p:nvPr/>
        </p:nvSpPr>
        <p:spPr>
          <a:xfrm>
            <a:off x="3972100" y="3709556"/>
            <a:ext cx="1908000" cy="190800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prstClr val="white"/>
              </a:solidFill>
              <a:latin typeface="Arial" panose="020B0604020202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46821F2-2896-3744-A458-4A234866EDD1}"/>
              </a:ext>
            </a:extLst>
          </p:cNvPr>
          <p:cNvSpPr/>
          <p:nvPr/>
        </p:nvSpPr>
        <p:spPr>
          <a:xfrm>
            <a:off x="6276232" y="3698485"/>
            <a:ext cx="1908000" cy="1908000"/>
          </a:xfrm>
          <a:prstGeom prst="rect">
            <a:avLst/>
          </a:prstGeom>
          <a:solidFill>
            <a:srgbClr val="86C2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prstClr val="white"/>
              </a:solidFill>
              <a:latin typeface="Arial" panose="020B0604020202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587724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2547108-AFA0-F740-B8D7-272C3733A4A0}"/>
              </a:ext>
            </a:extLst>
          </p:cNvPr>
          <p:cNvSpPr/>
          <p:nvPr/>
        </p:nvSpPr>
        <p:spPr>
          <a:xfrm>
            <a:off x="587724" y="3709556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7A048C63-D1C6-034A-B7E3-22EFBC2A3822}"/>
              </a:ext>
            </a:extLst>
          </p:cNvPr>
          <p:cNvSpPr/>
          <p:nvPr/>
        </p:nvSpPr>
        <p:spPr>
          <a:xfrm>
            <a:off x="8184232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2BFCD231-F46C-314F-9C4A-C56BBF802DEA}"/>
              </a:ext>
            </a:extLst>
          </p:cNvPr>
          <p:cNvSpPr/>
          <p:nvPr/>
        </p:nvSpPr>
        <p:spPr>
          <a:xfrm>
            <a:off x="8184232" y="3709550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A035967-5C12-144F-8CED-2198DC8879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2100" y="1979602"/>
            <a:ext cx="648000" cy="648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FF42B7F-314B-BB44-B851-20C31C6CC0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06232" y="2002446"/>
            <a:ext cx="648000" cy="648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DAED81-8793-5146-9D44-8534CF2CDA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02100" y="4124422"/>
            <a:ext cx="648000" cy="648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F3EB638-E23C-AB43-B718-345EEA05346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06232" y="4124422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5776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1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LE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9450EC4-FE50-C545-9BF1-9F60836C5C70}"/>
              </a:ext>
            </a:extLst>
          </p:cNvPr>
          <p:cNvSpPr/>
          <p:nvPr/>
        </p:nvSpPr>
        <p:spPr>
          <a:xfrm>
            <a:off x="382060" y="150319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D2416BE-D4E4-C740-AB2A-E4160C731B32}"/>
              </a:ext>
            </a:extLst>
          </p:cNvPr>
          <p:cNvSpPr/>
          <p:nvPr/>
        </p:nvSpPr>
        <p:spPr>
          <a:xfrm>
            <a:off x="2335778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48F450C-5E5A-AD45-8CFC-6ACA69B3FEAE}"/>
              </a:ext>
            </a:extLst>
          </p:cNvPr>
          <p:cNvSpPr/>
          <p:nvPr/>
        </p:nvSpPr>
        <p:spPr>
          <a:xfrm>
            <a:off x="395824" y="386727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1D3B5B3-270C-9A41-8CA8-3534E0BAA050}"/>
              </a:ext>
            </a:extLst>
          </p:cNvPr>
          <p:cNvSpPr/>
          <p:nvPr/>
        </p:nvSpPr>
        <p:spPr>
          <a:xfrm>
            <a:off x="2349542" y="3867279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L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LEGAL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5AC30AF-3CE8-AD4B-ADC8-E1E35353C224}"/>
              </a:ext>
            </a:extLst>
          </p:cNvPr>
          <p:cNvSpPr/>
          <p:nvPr/>
        </p:nvSpPr>
        <p:spPr>
          <a:xfrm>
            <a:off x="6515158" y="1503199"/>
            <a:ext cx="5229122" cy="47127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Aft>
                <a:spcPts val="600"/>
              </a:spcAft>
            </a:pPr>
            <a:r>
              <a:rPr lang="de-DE" sz="1400" dirty="0"/>
              <a:t>ENVIRONMENTAL FACTORS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179A045-0C8F-AA4A-92C4-1EAEA451A042}"/>
              </a:ext>
            </a:extLst>
          </p:cNvPr>
          <p:cNvSpPr/>
          <p:nvPr/>
        </p:nvSpPr>
        <p:spPr>
          <a:xfrm>
            <a:off x="6515158" y="1974470"/>
            <a:ext cx="5229122" cy="38665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D2BF922-ED54-7F48-865D-523C21AC13F2}"/>
              </a:ext>
            </a:extLst>
          </p:cNvPr>
          <p:cNvSpPr/>
          <p:nvPr/>
        </p:nvSpPr>
        <p:spPr>
          <a:xfrm>
            <a:off x="4289496" y="1509767"/>
            <a:ext cx="1800000" cy="198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5C82CAE-8C15-6E4B-A015-F631ACBD0A14}"/>
              </a:ext>
            </a:extLst>
          </p:cNvPr>
          <p:cNvSpPr/>
          <p:nvPr/>
        </p:nvSpPr>
        <p:spPr>
          <a:xfrm>
            <a:off x="4303260" y="3861048"/>
            <a:ext cx="1800000" cy="1980000"/>
          </a:xfrm>
          <a:prstGeom prst="rect">
            <a:avLst/>
          </a:prstGeom>
          <a:solidFill>
            <a:srgbClr val="78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472176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972100" y="1562571"/>
            <a:ext cx="1908000" cy="1908000"/>
          </a:xfrm>
          <a:prstGeom prst="rect">
            <a:avLst/>
          </a:prstGeom>
          <a:solidFill>
            <a:srgbClr val="154D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P</a:t>
            </a:r>
          </a:p>
          <a:p>
            <a:pPr algn="ctr"/>
            <a:r>
              <a:rPr lang="de-DE" sz="1400" dirty="0"/>
              <a:t>POLITICAL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EE388E2-81B7-3D42-9C75-79E3EFDC61F9}"/>
              </a:ext>
            </a:extLst>
          </p:cNvPr>
          <p:cNvSpPr/>
          <p:nvPr/>
        </p:nvSpPr>
        <p:spPr>
          <a:xfrm>
            <a:off x="6276232" y="1562571"/>
            <a:ext cx="1908000" cy="1908000"/>
          </a:xfrm>
          <a:prstGeom prst="rect">
            <a:avLst/>
          </a:prstGeom>
          <a:solidFill>
            <a:srgbClr val="1F7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E</a:t>
            </a:r>
          </a:p>
          <a:p>
            <a:pPr algn="ctr">
              <a:spcAft>
                <a:spcPts val="600"/>
              </a:spcAft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CD1ED3-0A05-4643-8FA1-AFD067AFF7C5}"/>
              </a:ext>
            </a:extLst>
          </p:cNvPr>
          <p:cNvSpPr/>
          <p:nvPr/>
        </p:nvSpPr>
        <p:spPr>
          <a:xfrm>
            <a:off x="3972100" y="3709556"/>
            <a:ext cx="1908000" cy="190800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S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SOCIAL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46821F2-2896-3744-A458-4A234866EDD1}"/>
              </a:ext>
            </a:extLst>
          </p:cNvPr>
          <p:cNvSpPr/>
          <p:nvPr/>
        </p:nvSpPr>
        <p:spPr>
          <a:xfrm>
            <a:off x="6276232" y="3698485"/>
            <a:ext cx="1908000" cy="1908000"/>
          </a:xfrm>
          <a:prstGeom prst="rect">
            <a:avLst/>
          </a:prstGeom>
          <a:solidFill>
            <a:srgbClr val="86C2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5400" dirty="0"/>
              <a:t>T</a:t>
            </a:r>
          </a:p>
          <a:p>
            <a:pPr algn="ctr">
              <a:spcAft>
                <a:spcPts val="600"/>
              </a:spcAft>
            </a:pPr>
            <a:r>
              <a:rPr lang="de-DE" sz="1400" dirty="0"/>
              <a:t>TECHNOLOG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587724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2547108-AFA0-F740-B8D7-272C3733A4A0}"/>
              </a:ext>
            </a:extLst>
          </p:cNvPr>
          <p:cNvSpPr/>
          <p:nvPr/>
        </p:nvSpPr>
        <p:spPr>
          <a:xfrm>
            <a:off x="587724" y="3709556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7A048C63-D1C6-034A-B7E3-22EFBC2A3822}"/>
              </a:ext>
            </a:extLst>
          </p:cNvPr>
          <p:cNvSpPr/>
          <p:nvPr/>
        </p:nvSpPr>
        <p:spPr>
          <a:xfrm>
            <a:off x="8184232" y="1562571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2BFCD231-F46C-314F-9C4A-C56BBF802DEA}"/>
              </a:ext>
            </a:extLst>
          </p:cNvPr>
          <p:cNvSpPr/>
          <p:nvPr/>
        </p:nvSpPr>
        <p:spPr>
          <a:xfrm>
            <a:off x="8184232" y="3709550"/>
            <a:ext cx="3384376" cy="19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15" name="Circular Arrow 56">
            <a:extLst>
              <a:ext uri="{FF2B5EF4-FFF2-40B4-BE49-F238E27FC236}">
                <a16:creationId xmlns:a16="http://schemas.microsoft.com/office/drawing/2014/main" id="{50B2E055-DB07-B84D-833E-7EA2FCBD89EC}"/>
              </a:ext>
            </a:extLst>
          </p:cNvPr>
          <p:cNvSpPr/>
          <p:nvPr/>
        </p:nvSpPr>
        <p:spPr>
          <a:xfrm>
            <a:off x="5430000" y="2907470"/>
            <a:ext cx="1332000" cy="1296000"/>
          </a:xfrm>
          <a:prstGeom prst="circularArrow">
            <a:avLst/>
          </a:prstGeom>
          <a:solidFill>
            <a:srgbClr val="B25147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16" name="Circular Arrow 56">
            <a:extLst>
              <a:ext uri="{FF2B5EF4-FFF2-40B4-BE49-F238E27FC236}">
                <a16:creationId xmlns:a16="http://schemas.microsoft.com/office/drawing/2014/main" id="{006941C8-A144-1E49-ABEA-93F6D23B0E23}"/>
              </a:ext>
            </a:extLst>
          </p:cNvPr>
          <p:cNvSpPr/>
          <p:nvPr/>
        </p:nvSpPr>
        <p:spPr>
          <a:xfrm rot="11025758">
            <a:off x="5444079" y="2967253"/>
            <a:ext cx="1332000" cy="1296000"/>
          </a:xfrm>
          <a:prstGeom prst="circularArrow">
            <a:avLst/>
          </a:prstGeom>
          <a:solidFill>
            <a:srgbClr val="B25147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912288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8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rgbClr val="32A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P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82721" y="1269170"/>
            <a:ext cx="2592000" cy="873323"/>
          </a:xfrm>
          <a:prstGeom prst="rect">
            <a:avLst/>
          </a:prstGeom>
          <a:solidFill>
            <a:srgbClr val="98B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E</a:t>
            </a:r>
          </a:p>
          <a:p>
            <a:pPr>
              <a:lnSpc>
                <a:spcPct val="150000"/>
              </a:lnSpc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EBC3492-417D-4E48-AF5E-41C9142DB64A}"/>
              </a:ext>
            </a:extLst>
          </p:cNvPr>
          <p:cNvSpPr/>
          <p:nvPr/>
        </p:nvSpPr>
        <p:spPr>
          <a:xfrm>
            <a:off x="3269935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74942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S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SOCIAL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D053240-D205-0943-8E2F-82DCD2AEB4B7}"/>
              </a:ext>
            </a:extLst>
          </p:cNvPr>
          <p:cNvSpPr/>
          <p:nvPr/>
        </p:nvSpPr>
        <p:spPr>
          <a:xfrm>
            <a:off x="6162156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rgbClr val="E59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T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TECHNOLOGICA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E76FADF-2C79-664F-9598-729200BE5571}"/>
              </a:ext>
            </a:extLst>
          </p:cNvPr>
          <p:cNvSpPr/>
          <p:nvPr/>
        </p:nvSpPr>
        <p:spPr>
          <a:xfrm>
            <a:off x="9048328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527111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rgbClr val="32A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82721" y="1269170"/>
            <a:ext cx="2592000" cy="873323"/>
          </a:xfrm>
          <a:prstGeom prst="rect">
            <a:avLst/>
          </a:prstGeom>
          <a:solidFill>
            <a:srgbClr val="98B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EBC3492-417D-4E48-AF5E-41C9142DB64A}"/>
              </a:ext>
            </a:extLst>
          </p:cNvPr>
          <p:cNvSpPr/>
          <p:nvPr/>
        </p:nvSpPr>
        <p:spPr>
          <a:xfrm>
            <a:off x="3269935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Economic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74942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D053240-D205-0943-8E2F-82DCD2AEB4B7}"/>
              </a:ext>
            </a:extLst>
          </p:cNvPr>
          <p:cNvSpPr/>
          <p:nvPr/>
        </p:nvSpPr>
        <p:spPr>
          <a:xfrm>
            <a:off x="6162156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Social</a:t>
            </a: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marR="0" lvl="0" indent="-18415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rgbClr val="E59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E76FADF-2C79-664F-9598-729200BE5571}"/>
              </a:ext>
            </a:extLst>
          </p:cNvPr>
          <p:cNvSpPr/>
          <p:nvPr/>
        </p:nvSpPr>
        <p:spPr>
          <a:xfrm>
            <a:off x="9048328" y="2295470"/>
            <a:ext cx="2592000" cy="3870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Technological </a:t>
            </a:r>
            <a:r>
              <a:rPr lang="de-DE" sz="14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4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1AA737F-CE33-684B-BE40-0657B156C3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79576" y="1435831"/>
            <a:ext cx="540000" cy="54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13CF92F-F987-4842-8C56-5E53C4197C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95960" y="1435831"/>
            <a:ext cx="540000" cy="54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496278E-471B-A84E-955D-599DFF8C6F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20536" y="1435831"/>
            <a:ext cx="540000" cy="54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42EBCF1-C331-C444-92FF-64334BB649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77073" y="143583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32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rgbClr val="32A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P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2592000" cy="3870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olit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82721" y="1269170"/>
            <a:ext cx="2592000" cy="873323"/>
          </a:xfrm>
          <a:prstGeom prst="rect">
            <a:avLst/>
          </a:prstGeom>
          <a:solidFill>
            <a:srgbClr val="98B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E</a:t>
            </a:r>
          </a:p>
          <a:p>
            <a:pPr>
              <a:lnSpc>
                <a:spcPct val="150000"/>
              </a:lnSpc>
            </a:pPr>
            <a:r>
              <a:rPr lang="de-DE" sz="1400"/>
              <a:t>ECONOMIC</a:t>
            </a:r>
            <a:endParaRPr lang="de-DE" sz="1400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EBC3492-417D-4E48-AF5E-41C9142DB64A}"/>
              </a:ext>
            </a:extLst>
          </p:cNvPr>
          <p:cNvSpPr/>
          <p:nvPr/>
        </p:nvSpPr>
        <p:spPr>
          <a:xfrm>
            <a:off x="3269935" y="2295470"/>
            <a:ext cx="2592000" cy="3870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Econom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74942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S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SOCIAL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D053240-D205-0943-8E2F-82DCD2AEB4B7}"/>
              </a:ext>
            </a:extLst>
          </p:cNvPr>
          <p:cNvSpPr/>
          <p:nvPr/>
        </p:nvSpPr>
        <p:spPr>
          <a:xfrm>
            <a:off x="6162156" y="2295470"/>
            <a:ext cx="2592000" cy="3870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 err="1">
                <a:solidFill>
                  <a:schemeClr val="tx1"/>
                </a:solidFill>
              </a:rPr>
              <a:t>Socia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rgbClr val="E59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2800" dirty="0"/>
              <a:t>T</a:t>
            </a:r>
          </a:p>
          <a:p>
            <a:pPr>
              <a:lnSpc>
                <a:spcPct val="150000"/>
              </a:lnSpc>
            </a:pPr>
            <a:r>
              <a:rPr lang="de-DE" sz="1400" dirty="0"/>
              <a:t>TECHNOLOGICA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E76FADF-2C79-664F-9598-729200BE5571}"/>
              </a:ext>
            </a:extLst>
          </p:cNvPr>
          <p:cNvSpPr/>
          <p:nvPr/>
        </p:nvSpPr>
        <p:spPr>
          <a:xfrm>
            <a:off x="9048328" y="2295470"/>
            <a:ext cx="2592000" cy="3870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Technological </a:t>
            </a:r>
            <a:r>
              <a:rPr lang="de-DE" sz="1400" dirty="0" err="1">
                <a:solidFill>
                  <a:schemeClr val="tx1"/>
                </a:solidFill>
              </a:rPr>
              <a:t>factors</a:t>
            </a:r>
            <a:endParaRPr lang="de-DE" sz="1400" dirty="0">
              <a:solidFill>
                <a:schemeClr val="tx1"/>
              </a:solidFill>
            </a:endParaRPr>
          </a:p>
          <a:p>
            <a:pPr marL="184150" indent="-184150">
              <a:spcAft>
                <a:spcPts val="9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3430498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1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5797686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7621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686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9EC51E8-C156-9B46-8296-1C7C117779E9}"/>
              </a:ext>
            </a:extLst>
          </p:cNvPr>
          <p:cNvSpPr/>
          <p:nvPr/>
        </p:nvSpPr>
        <p:spPr>
          <a:xfrm>
            <a:off x="6095999" y="2295470"/>
            <a:ext cx="5557115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6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6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6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6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6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6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6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6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Political </a:t>
            </a:r>
            <a:r>
              <a:rPr lang="de-DE" sz="1600" dirty="0" err="1">
                <a:solidFill>
                  <a:prstClr val="black"/>
                </a:solidFill>
                <a:latin typeface="Arial" panose="020B0604020202020204"/>
              </a:rPr>
              <a:t>factors</a:t>
            </a:r>
            <a:endParaRPr lang="de-DE" sz="1600" dirty="0">
              <a:solidFill>
                <a:prstClr val="black"/>
              </a:solidFill>
              <a:latin typeface="Arial" panose="020B0604020202020204"/>
            </a:endParaRPr>
          </a:p>
          <a:p>
            <a:pPr marL="18415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prstClr val="black"/>
                </a:solidFill>
                <a:latin typeface="Arial" panose="020B0604020202020204"/>
              </a:rPr>
              <a:t>…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9DAF6FB-ACE7-014D-9063-4843F607A0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10774" y="529666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062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5797686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76213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686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9EC51E8-C156-9B46-8296-1C7C117779E9}"/>
              </a:ext>
            </a:extLst>
          </p:cNvPr>
          <p:cNvSpPr/>
          <p:nvPr/>
        </p:nvSpPr>
        <p:spPr>
          <a:xfrm>
            <a:off x="6095999" y="2295470"/>
            <a:ext cx="5557115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>
                <a:solidFill>
                  <a:prstClr val="black"/>
                </a:solidFill>
              </a:rPr>
              <a:t>Economic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EDA5BBB-25D2-D347-9614-00F80D5BDA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32504" y="5236943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46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437450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EST Analysis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ww.strategypunk.co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4727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45077D-B006-BD47-8F89-6FF3F8903A07}"/>
              </a:ext>
            </a:extLst>
          </p:cNvPr>
          <p:cNvSpPr/>
          <p:nvPr/>
        </p:nvSpPr>
        <p:spPr>
          <a:xfrm>
            <a:off x="38376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CA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76A2B1-2995-D749-A5CC-FD0AE2B39F22}"/>
              </a:ext>
            </a:extLst>
          </p:cNvPr>
          <p:cNvSpPr/>
          <p:nvPr/>
        </p:nvSpPr>
        <p:spPr>
          <a:xfrm>
            <a:off x="370977" y="2295470"/>
            <a:ext cx="5797686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77F63E-C6E8-DD49-BCA2-E44524FFB6E4}"/>
              </a:ext>
            </a:extLst>
          </p:cNvPr>
          <p:cNvSpPr/>
          <p:nvPr/>
        </p:nvSpPr>
        <p:spPr>
          <a:xfrm>
            <a:off x="3276213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CC0BBB-69F3-C242-B6F0-0C083E0FDECA}"/>
              </a:ext>
            </a:extLst>
          </p:cNvPr>
          <p:cNvSpPr/>
          <p:nvPr/>
        </p:nvSpPr>
        <p:spPr>
          <a:xfrm>
            <a:off x="6168663" y="1269170"/>
            <a:ext cx="2592000" cy="873323"/>
          </a:xfrm>
          <a:prstGeom prst="rect">
            <a:avLst/>
          </a:prstGeom>
          <a:solidFill>
            <a:srgbClr val="4454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6FA147F-D696-6746-B658-81FBFDDF824E}"/>
              </a:ext>
            </a:extLst>
          </p:cNvPr>
          <p:cNvSpPr/>
          <p:nvPr/>
        </p:nvSpPr>
        <p:spPr>
          <a:xfrm>
            <a:off x="9061114" y="1269170"/>
            <a:ext cx="2592000" cy="873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CA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9EC51E8-C156-9B46-8296-1C7C117779E9}"/>
              </a:ext>
            </a:extLst>
          </p:cNvPr>
          <p:cNvSpPr/>
          <p:nvPr/>
        </p:nvSpPr>
        <p:spPr>
          <a:xfrm>
            <a:off x="6095999" y="2295470"/>
            <a:ext cx="5557115" cy="3870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/>
          <a:lstStyle/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lvl="0" indent="-184150">
              <a:spcAft>
                <a:spcPts val="1500"/>
              </a:spcAft>
              <a:buFont typeface="Wingdings" pitchFamily="2" charset="2"/>
              <a:buChar char="§"/>
            </a:pPr>
            <a:r>
              <a:rPr lang="de-DE" sz="1600" dirty="0" err="1">
                <a:solidFill>
                  <a:prstClr val="black"/>
                </a:solidFill>
              </a:rPr>
              <a:t>Social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or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84150" marR="0" lvl="0" indent="-1841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88FA5E-822D-CB4E-838B-3E25A43459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35437" y="5236943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519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2</Words>
  <Application>Microsoft Macintosh PowerPoint</Application>
  <PresentationFormat>Breitbild</PresentationFormat>
  <Paragraphs>445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Calibri</vt:lpstr>
      <vt:lpstr>Wingdings</vt:lpstr>
      <vt:lpstr>1_Office</vt:lpstr>
      <vt:lpstr>Office</vt:lpstr>
      <vt:lpstr>2_Office</vt:lpstr>
      <vt:lpstr>think-cell Folie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 Analysis</vt:lpstr>
      <vt:lpstr>PESTLE Analysis</vt:lpstr>
      <vt:lpstr>PESTLE Analysis</vt:lpstr>
      <vt:lpstr>PESTLE Analysis</vt:lpstr>
      <vt:lpstr>PESTLE Analysis</vt:lpstr>
      <vt:lpstr>PESTLE Analysis</vt:lpstr>
      <vt:lpstr>PESTLE Analysi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ST / PESTLE ANALYSIS</dc:title>
  <dc:subject/>
  <dc:creator>StrategyPunk.com</dc:creator>
  <cp:keywords/>
  <dc:description/>
  <cp:lastModifiedBy>Christina  Schmidt</cp:lastModifiedBy>
  <cp:revision>52</cp:revision>
  <dcterms:created xsi:type="dcterms:W3CDTF">2019-03-05T19:37:05Z</dcterms:created>
  <dcterms:modified xsi:type="dcterms:W3CDTF">2020-02-15T00:28:01Z</dcterms:modified>
  <cp:category/>
</cp:coreProperties>
</file>